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1"/>
  </p:notesMasterIdLst>
  <p:sldIdLst>
    <p:sldId id="263" r:id="rId2"/>
    <p:sldId id="264" r:id="rId3"/>
    <p:sldId id="265" r:id="rId4"/>
    <p:sldId id="266" r:id="rId5"/>
    <p:sldId id="268" r:id="rId6"/>
    <p:sldId id="269" r:id="rId7"/>
    <p:sldId id="270" r:id="rId8"/>
    <p:sldId id="271" r:id="rId9"/>
    <p:sldId id="267" r:id="rId10"/>
  </p:sldIdLst>
  <p:sldSz cx="12192000" cy="6858000"/>
  <p:notesSz cx="6858000" cy="9144000"/>
  <p:custDataLst>
    <p:tags r:id="rId12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6666"/>
    <a:srgbClr val="535353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stil, ingen rutenet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96"/>
  </p:normalViewPr>
  <p:slideViewPr>
    <p:cSldViewPr snapToGrid="0" snapToObjects="1" showGuides="1">
      <p:cViewPr varScale="1">
        <p:scale>
          <a:sx n="113" d="100"/>
          <a:sy n="113" d="100"/>
        </p:scale>
        <p:origin x="90" y="67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65754C-46D2-1A41-B084-56CA6038C82F}" type="datetimeFigureOut">
              <a:rPr lang="nb-NO" smtClean="0"/>
              <a:t>05.11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0771F1-6CDA-E142-9230-682D9D2AED8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7951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964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097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157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179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258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738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0000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9066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771F1-6CDA-E142-9230-682D9D2AED8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149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6">
            <a:extLst>
              <a:ext uri="{FF2B5EF4-FFF2-40B4-BE49-F238E27FC236}">
                <a16:creationId xmlns:a16="http://schemas.microsoft.com/office/drawing/2014/main" id="{72BBFAF8-69DB-0A4F-9B16-03C2979DF1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18">
            <a:extLst>
              <a:ext uri="{FF2B5EF4-FFF2-40B4-BE49-F238E27FC236}">
                <a16:creationId xmlns:a16="http://schemas.microsoft.com/office/drawing/2014/main" id="{945A840E-7ACF-C640-92FD-11BAFB5D7E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923" y="514350"/>
            <a:ext cx="2069552" cy="46637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4A305B6-2476-0543-AB3E-55B7D5B7DF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94933" y="2106506"/>
            <a:ext cx="7240694" cy="1897909"/>
          </a:xfrm>
        </p:spPr>
        <p:txBody>
          <a:bodyPr anchor="b"/>
          <a:lstStyle>
            <a:lvl1pPr algn="l"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Presentation tit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6BF290A-FBCD-614E-B25B-0EBCAFBEA5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94933" y="4123586"/>
            <a:ext cx="7240694" cy="583881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334425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B46936-7955-7442-8E78-CD3DAC527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8413" y="1700214"/>
            <a:ext cx="5327649" cy="3457572"/>
          </a:xfrm>
        </p:spPr>
        <p:txBody>
          <a:bodyPr anchor="ctr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86BAC45-A340-CE40-8A90-85F16C4EEA7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5BE137B-EC7F-5847-909B-2F5A91A792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4F7924A1-E0A1-A146-BC84-3DE7729ED9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7B4C7F3-1FE8-FE4A-83B8-69ED0B7708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7BA462DB-5D3E-55EF-5D2E-54DE86F558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5937" y="373980"/>
            <a:ext cx="5161755" cy="557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62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5C30FF95-BA0B-5147-A375-68B7B78690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309970" y="2135920"/>
            <a:ext cx="1568884" cy="1519856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5993B6AE-94A5-2048-8702-F06F99FDC6B2}"/>
              </a:ext>
            </a:extLst>
          </p:cNvPr>
          <p:cNvSpPr txBox="1"/>
          <p:nvPr userDrawn="1"/>
        </p:nvSpPr>
        <p:spPr>
          <a:xfrm>
            <a:off x="4900507" y="5791200"/>
            <a:ext cx="23909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noProof="0" dirty="0">
                <a:solidFill>
                  <a:schemeClr val="tx2"/>
                </a:solidFill>
              </a:rPr>
              <a:t>www.akerbp.com</a:t>
            </a:r>
          </a:p>
        </p:txBody>
      </p:sp>
    </p:spTree>
    <p:extLst>
      <p:ext uri="{BB962C8B-B14F-4D97-AF65-F5344CB8AC3E}">
        <p14:creationId xmlns:p14="http://schemas.microsoft.com/office/powerpoint/2010/main" val="978280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700212"/>
            <a:ext cx="11160124" cy="4249738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9AD3D69-F4E6-9B44-9794-4815F8852A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7" y="1171727"/>
            <a:ext cx="9866194" cy="1905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Optional subheading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6BF49CC-38B6-F844-8F58-187E38C7D8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CC59FA5-216D-4F49-B3FD-83A319FD1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68300"/>
            <a:ext cx="9866194" cy="720761"/>
          </a:xfrm>
        </p:spPr>
        <p:txBody>
          <a:bodyPr/>
          <a:lstStyle/>
          <a:p>
            <a:r>
              <a:rPr lang="nb-NO" dirty="0"/>
              <a:t>Heading</a:t>
            </a:r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178F60AD-AF37-DB40-9001-D2A1483F5DF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 dirty="0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E028E39F-4550-4241-A464-949E8DF233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46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E47B9D84-B533-C84E-9662-044015B2F201}"/>
              </a:ext>
            </a:extLst>
          </p:cNvPr>
          <p:cNvSpPr/>
          <p:nvPr userDrawn="1"/>
        </p:nvSpPr>
        <p:spPr>
          <a:xfrm>
            <a:off x="6348414" y="0"/>
            <a:ext cx="58435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700212"/>
            <a:ext cx="5327650" cy="4249738"/>
          </a:xfrm>
        </p:spPr>
        <p:txBody>
          <a:bodyPr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37606405-6B13-2449-83A7-80048414CA6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348413" y="0"/>
            <a:ext cx="5843585" cy="6858000"/>
          </a:xfrm>
          <a:solidFill>
            <a:schemeClr val="bg2"/>
          </a:solidFill>
        </p:spPr>
        <p:txBody>
          <a:bodyPr lIns="0" tIns="0" rIns="0" bIns="0" anchor="ctr" anchorCtr="1"/>
          <a:lstStyle/>
          <a:p>
            <a:pPr lvl="0"/>
            <a:r>
              <a:rPr lang="en-US" noProof="0" dirty="0"/>
              <a:t>Image/figure</a:t>
            </a:r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83E9040B-21C9-2144-B6F4-99F2017C08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AA588EE-1DDC-D743-A77F-4EA1769954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68300"/>
            <a:ext cx="5327651" cy="720761"/>
          </a:xfrm>
        </p:spPr>
        <p:txBody>
          <a:bodyPr/>
          <a:lstStyle/>
          <a:p>
            <a:r>
              <a:rPr lang="nb-NO" dirty="0"/>
              <a:t>Heading</a:t>
            </a:r>
          </a:p>
        </p:txBody>
      </p:sp>
      <p:sp>
        <p:nvSpPr>
          <p:cNvPr id="10" name="Plassholder for bunntekst 9">
            <a:extLst>
              <a:ext uri="{FF2B5EF4-FFF2-40B4-BE49-F238E27FC236}">
                <a16:creationId xmlns:a16="http://schemas.microsoft.com/office/drawing/2014/main" id="{8A1160FC-EAD7-9647-8293-25C252760B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5937" y="6107575"/>
            <a:ext cx="5327651" cy="417050"/>
          </a:xfrm>
        </p:spPr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 dirty="0"/>
          </a:p>
        </p:txBody>
      </p:sp>
      <p:sp>
        <p:nvSpPr>
          <p:cNvPr id="15" name="Plassholder for tekst 7">
            <a:extLst>
              <a:ext uri="{FF2B5EF4-FFF2-40B4-BE49-F238E27FC236}">
                <a16:creationId xmlns:a16="http://schemas.microsoft.com/office/drawing/2014/main" id="{5A1CC41E-A61F-4B44-B025-9A9D463652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7" y="1171727"/>
            <a:ext cx="5327651" cy="1905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Optional subheading</a:t>
            </a:r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DB6EDC61-13A6-FF49-B210-175122070A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242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8415" y="1700212"/>
            <a:ext cx="5327650" cy="4249738"/>
          </a:xfrm>
        </p:spPr>
        <p:txBody>
          <a:bodyPr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D9F7D6-AFCF-9C4C-AFE3-824B5131319D}"/>
              </a:ext>
            </a:extLst>
          </p:cNvPr>
          <p:cNvSpPr/>
          <p:nvPr userDrawn="1"/>
        </p:nvSpPr>
        <p:spPr>
          <a:xfrm>
            <a:off x="0" y="0"/>
            <a:ext cx="584358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7" name="Plassholder for innhold 5">
            <a:extLst>
              <a:ext uri="{FF2B5EF4-FFF2-40B4-BE49-F238E27FC236}">
                <a16:creationId xmlns:a16="http://schemas.microsoft.com/office/drawing/2014/main" id="{C93CFC89-DF8E-1B43-806E-23F8467D292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5843587" cy="6858000"/>
          </a:xfrm>
          <a:solidFill>
            <a:schemeClr val="bg2"/>
          </a:solidFill>
        </p:spPr>
        <p:txBody>
          <a:bodyPr lIns="0" tIns="0" rIns="0" bIns="0" anchor="ctr" anchorCtr="1"/>
          <a:lstStyle/>
          <a:p>
            <a:pPr lvl="0"/>
            <a:r>
              <a:rPr lang="en-US" noProof="0" dirty="0"/>
              <a:t>Image/figure</a:t>
            </a:r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03FAC6CE-4813-2444-9C03-5AB8F4584D2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EAD612D-25EA-0541-A1D3-5BF2D59198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348413" y="6107575"/>
            <a:ext cx="4219438" cy="417050"/>
          </a:xfrm>
        </p:spPr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95F2CBC-A2EF-A449-A6B6-18B4479131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8414" y="368300"/>
            <a:ext cx="4033717" cy="720761"/>
          </a:xfrm>
        </p:spPr>
        <p:txBody>
          <a:bodyPr/>
          <a:lstStyle/>
          <a:p>
            <a:r>
              <a:rPr lang="nb-NO" dirty="0"/>
              <a:t>Heading</a:t>
            </a: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C347D751-6E46-9B4B-8B2C-B5BA129FC1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48413" y="1171727"/>
            <a:ext cx="4033717" cy="1905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Optional subheading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12A20E5B-1144-0945-A7DE-B523BE9551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40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700213"/>
            <a:ext cx="5327648" cy="4249737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6BF49CC-38B6-F844-8F58-187E38C7D8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60C390F0-3DA4-E547-BAA0-E7A0002F75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48414" y="1700213"/>
            <a:ext cx="5327648" cy="4249737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A043B305-7613-224C-AF5C-4C15A01CED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1A01B6E0-5C05-8A4A-B512-3F63287BD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68300"/>
            <a:ext cx="9866193" cy="720761"/>
          </a:xfrm>
        </p:spPr>
        <p:txBody>
          <a:bodyPr/>
          <a:lstStyle/>
          <a:p>
            <a:r>
              <a:rPr lang="nb-NO" dirty="0"/>
              <a:t>Heading</a:t>
            </a: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847A65D4-40C7-E843-A968-7B67CC222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7" y="1171727"/>
            <a:ext cx="9866193" cy="1905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Optional subheading</a:t>
            </a:r>
          </a:p>
        </p:txBody>
      </p:sp>
      <p:pic>
        <p:nvPicPr>
          <p:cNvPr id="15" name="Grafikk 14">
            <a:extLst>
              <a:ext uri="{FF2B5EF4-FFF2-40B4-BE49-F238E27FC236}">
                <a16:creationId xmlns:a16="http://schemas.microsoft.com/office/drawing/2014/main" id="{A31C3E88-B22D-254C-A452-735A26243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891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700213"/>
            <a:ext cx="3370653" cy="4249737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6BF49CC-38B6-F844-8F58-187E38C7D8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88F5B314-5B17-9D44-9325-63A19A9FE2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10673" y="1700213"/>
            <a:ext cx="3370653" cy="4249737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60C390F0-3DA4-E547-BAA0-E7A0002F752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05408" y="1700213"/>
            <a:ext cx="3370653" cy="4249737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318B3B3-20D8-3945-986B-8ECD3B7265F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F39E99A-8DCD-DC45-941B-EDEC213CDE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68300"/>
            <a:ext cx="9866193" cy="720761"/>
          </a:xfrm>
        </p:spPr>
        <p:txBody>
          <a:bodyPr/>
          <a:lstStyle/>
          <a:p>
            <a:r>
              <a:rPr lang="nb-NO" dirty="0"/>
              <a:t>Heading</a:t>
            </a:r>
          </a:p>
        </p:txBody>
      </p:sp>
      <p:sp>
        <p:nvSpPr>
          <p:cNvPr id="14" name="Plassholder for tekst 7">
            <a:extLst>
              <a:ext uri="{FF2B5EF4-FFF2-40B4-BE49-F238E27FC236}">
                <a16:creationId xmlns:a16="http://schemas.microsoft.com/office/drawing/2014/main" id="{A7C7FC87-FF25-444D-B4DD-35B66ED37E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7" y="1171727"/>
            <a:ext cx="9866193" cy="1905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Optional subheading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70D27C78-0958-BA46-BEB9-AAEACCB5EE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894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3976430"/>
            <a:ext cx="5327650" cy="1973520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6BF49CC-38B6-F844-8F58-187E38C7D8F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8B4331B-5A49-1946-AC81-A4BAD3953BD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15937" y="1700213"/>
            <a:ext cx="5327650" cy="1886229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7884D6C8-0290-414D-BA1B-D7F4491ED8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48411" y="3976430"/>
            <a:ext cx="5327650" cy="1973520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E9445584-B74D-D044-86B1-8D8DF429B3DF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348411" y="1700213"/>
            <a:ext cx="5327650" cy="1886229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D2BA6B4-A3F2-1F42-9FC0-248E658FCA7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D730440-B28E-2E4E-BDBE-F335C01027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68300"/>
            <a:ext cx="9866193" cy="720761"/>
          </a:xfrm>
        </p:spPr>
        <p:txBody>
          <a:bodyPr/>
          <a:lstStyle/>
          <a:p>
            <a:r>
              <a:rPr lang="nb-NO" dirty="0"/>
              <a:t>Heading</a:t>
            </a:r>
          </a:p>
        </p:txBody>
      </p:sp>
      <p:sp>
        <p:nvSpPr>
          <p:cNvPr id="18" name="Plassholder for tekst 7">
            <a:extLst>
              <a:ext uri="{FF2B5EF4-FFF2-40B4-BE49-F238E27FC236}">
                <a16:creationId xmlns:a16="http://schemas.microsoft.com/office/drawing/2014/main" id="{84904F02-2BFC-474E-8C5B-F3B9A61285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7" y="1171727"/>
            <a:ext cx="9866193" cy="19050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/>
              <a:t>Optional subheading</a:t>
            </a:r>
          </a:p>
        </p:txBody>
      </p:sp>
      <p:pic>
        <p:nvPicPr>
          <p:cNvPr id="20" name="Grafikk 19">
            <a:extLst>
              <a:ext uri="{FF2B5EF4-FFF2-40B4-BE49-F238E27FC236}">
                <a16:creationId xmlns:a16="http://schemas.microsoft.com/office/drawing/2014/main" id="{72985FF7-77BE-7244-BF59-5925B2B4DD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00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B46936-7955-7442-8E78-CD3DAC527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3472" y="1808163"/>
            <a:ext cx="7240695" cy="428729"/>
          </a:xfrm>
        </p:spPr>
        <p:txBody>
          <a:bodyPr anchor="t"/>
          <a:lstStyle/>
          <a:p>
            <a:r>
              <a:rPr lang="en-US" noProof="0" dirty="0"/>
              <a:t>Agenda/Appendix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A50F19-E171-FB4D-B350-7B2189599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3472" y="2453747"/>
            <a:ext cx="7240695" cy="3496204"/>
          </a:xfrm>
        </p:spPr>
        <p:txBody>
          <a:bodyPr numCol="1" spcCol="468000"/>
          <a:lstStyle>
            <a:lvl1pPr marL="285750" indent="-285750">
              <a:buFont typeface="Wingdings" pitchFamily="2" charset="2"/>
              <a:buChar char="§"/>
              <a:defRPr/>
            </a:lvl1pPr>
            <a:lvl2pPr marL="625475" indent="-307975">
              <a:buFont typeface="Wingdings" pitchFamily="2" charset="2"/>
              <a:buChar char="§"/>
              <a:defRPr/>
            </a:lvl2pPr>
            <a:lvl3pPr marL="933450" indent="-307975">
              <a:buFont typeface="Wingdings" pitchFamily="2" charset="2"/>
              <a:buChar char="§"/>
              <a:defRPr/>
            </a:lvl3pPr>
            <a:lvl4pPr marL="1246188" indent="-307975">
              <a:buFont typeface="Wingdings" pitchFamily="2" charset="2"/>
              <a:buChar char="§"/>
              <a:defRPr/>
            </a:lvl4pPr>
            <a:lvl5pPr marL="1558925" indent="-301625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E237F861-DA05-F14B-B4FC-DB78E87F983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5BE137B-EC7F-5847-909B-2F5A91A7925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8F3C6C2C-E58E-1A46-86A2-C44557BAEB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833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4A305B6-2476-0543-AB3E-55B7D5B7DF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3473" y="1700213"/>
            <a:ext cx="7240694" cy="1721802"/>
          </a:xfrm>
        </p:spPr>
        <p:txBody>
          <a:bodyPr anchor="b"/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6BF290A-FBCD-614E-B25B-0EBCAFBEA5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3473" y="3645854"/>
            <a:ext cx="7240694" cy="230409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hapter subtitle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371A2F7F-FE71-B246-A26E-9A2724DAF3C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5BE137B-EC7F-5847-909B-2F5A91A7925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E41269D5-9E5D-DB44-B77E-805789FA5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3685" y="373980"/>
            <a:ext cx="1062377" cy="23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26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1743649-78F5-B14B-97B1-1B59D79F1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68300"/>
            <a:ext cx="10051914" cy="72076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err="1"/>
              <a:t>Klikk</a:t>
            </a:r>
            <a:r>
              <a:rPr lang="en-US" noProof="0" dirty="0"/>
              <a:t> for </a:t>
            </a:r>
            <a:r>
              <a:rPr lang="en-US" noProof="0" dirty="0" err="1"/>
              <a:t>å</a:t>
            </a:r>
            <a:r>
              <a:rPr lang="en-US" noProof="0" dirty="0"/>
              <a:t>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ittelstil</a:t>
            </a:r>
            <a:endParaRPr lang="en-US" noProof="0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09A815C-07F9-E24F-9ABB-20991047C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700212"/>
            <a:ext cx="11160124" cy="42497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12738" marR="0" lvl="0" indent="-3127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ct val="90000"/>
              <a:buFont typeface="Wingdings" pitchFamily="2" charset="2"/>
              <a:buChar char="§"/>
              <a:tabLst/>
              <a:defRPr/>
            </a:pPr>
            <a:r>
              <a:rPr lang="en-US" noProof="0" dirty="0" err="1"/>
              <a:t>Punktliste</a:t>
            </a:r>
            <a:r>
              <a:rPr lang="en-US" noProof="0" dirty="0"/>
              <a:t> </a:t>
            </a:r>
            <a:r>
              <a:rPr lang="en-US" noProof="0" dirty="0" err="1"/>
              <a:t>nivå</a:t>
            </a:r>
            <a:r>
              <a:rPr lang="en-US" noProof="0" dirty="0"/>
              <a:t> 1</a:t>
            </a:r>
          </a:p>
          <a:p>
            <a:pPr lvl="1"/>
            <a:r>
              <a:rPr lang="en-US" noProof="0" dirty="0" err="1"/>
              <a:t>Punktliste</a:t>
            </a:r>
            <a:r>
              <a:rPr lang="en-US" noProof="0" dirty="0"/>
              <a:t> </a:t>
            </a:r>
            <a:r>
              <a:rPr lang="en-US" noProof="0" dirty="0" err="1"/>
              <a:t>nivå</a:t>
            </a:r>
            <a:r>
              <a:rPr lang="en-US" noProof="0" dirty="0"/>
              <a:t> 2</a:t>
            </a:r>
          </a:p>
          <a:p>
            <a:pPr lvl="2"/>
            <a:r>
              <a:rPr lang="en-US" noProof="0" dirty="0" err="1"/>
              <a:t>Punktliste</a:t>
            </a:r>
            <a:r>
              <a:rPr lang="en-US" noProof="0" dirty="0"/>
              <a:t> </a:t>
            </a:r>
            <a:r>
              <a:rPr lang="en-US" noProof="0" dirty="0" err="1"/>
              <a:t>nivå</a:t>
            </a:r>
            <a:r>
              <a:rPr lang="en-US" noProof="0" dirty="0"/>
              <a:t> 3</a:t>
            </a:r>
          </a:p>
          <a:p>
            <a:pPr lvl="3"/>
            <a:r>
              <a:rPr lang="en-US" noProof="0" dirty="0" err="1"/>
              <a:t>Punktliste</a:t>
            </a:r>
            <a:r>
              <a:rPr lang="en-US" noProof="0" dirty="0"/>
              <a:t> </a:t>
            </a:r>
            <a:r>
              <a:rPr lang="en-US" noProof="0" dirty="0" err="1"/>
              <a:t>nivå</a:t>
            </a:r>
            <a:r>
              <a:rPr lang="en-US" noProof="0" dirty="0"/>
              <a:t> 4</a:t>
            </a:r>
          </a:p>
          <a:p>
            <a:pPr lvl="4"/>
            <a:r>
              <a:rPr lang="en-US" noProof="0" dirty="0" err="1"/>
              <a:t>Punktliste</a:t>
            </a:r>
            <a:r>
              <a:rPr lang="en-US" noProof="0" dirty="0"/>
              <a:t> </a:t>
            </a:r>
            <a:r>
              <a:rPr lang="en-US" noProof="0" dirty="0" err="1"/>
              <a:t>nivå</a:t>
            </a:r>
            <a:r>
              <a:rPr lang="en-US" noProof="0" dirty="0"/>
              <a:t> 5</a:t>
            </a:r>
          </a:p>
          <a:p>
            <a:pPr lvl="5"/>
            <a:r>
              <a:rPr lang="en-US" noProof="0" dirty="0" err="1"/>
              <a:t>Punktliste</a:t>
            </a:r>
            <a:r>
              <a:rPr lang="en-US" noProof="0" dirty="0"/>
              <a:t> </a:t>
            </a:r>
            <a:r>
              <a:rPr lang="en-US" noProof="0" dirty="0" err="1"/>
              <a:t>nivå</a:t>
            </a:r>
            <a:r>
              <a:rPr lang="en-US" noProof="0" dirty="0"/>
              <a:t> 6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A47985-7812-4044-BB7D-5F757F992D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8970" y="6557083"/>
            <a:ext cx="467092" cy="15458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15BE137B-EC7F-5847-909B-2F5A91A7925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76A2BD9-52EE-E749-8417-AECF601695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7" y="6107575"/>
            <a:ext cx="8956835" cy="41705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lang="nb-NO" sz="1000">
                <a:solidFill>
                  <a:schemeClr val="tx2"/>
                </a:solidFill>
              </a:defRPr>
            </a:lvl1pPr>
          </a:lstStyle>
          <a:p>
            <a:pPr>
              <a:lnSpc>
                <a:spcPct val="90000"/>
              </a:lnSpc>
              <a:buClr>
                <a:schemeClr val="accent6"/>
              </a:buClr>
              <a:buSzPct val="90000"/>
              <a:buFont typeface="Wingdings" pitchFamily="2" charset="2"/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803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5" r:id="rId4"/>
    <p:sldLayoutId id="2147483660" r:id="rId5"/>
    <p:sldLayoutId id="2147483658" r:id="rId6"/>
    <p:sldLayoutId id="2147483659" r:id="rId7"/>
    <p:sldLayoutId id="2147483657" r:id="rId8"/>
    <p:sldLayoutId id="2147483652" r:id="rId9"/>
    <p:sldLayoutId id="2147483651" r:id="rId10"/>
    <p:sldLayoutId id="2147483653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>
          <a:schemeClr val="accent6"/>
        </a:buClr>
        <a:buSzPct val="90000"/>
        <a:buFont typeface="Wingdings" pitchFamily="2" charset="2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3079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9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3450" indent="-3079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9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6188" indent="-3079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9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925" indent="-30162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9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66900" indent="-307975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SzPct val="9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533650" marR="0" indent="-233363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533650" marR="0" indent="-233363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33650" marR="0" indent="-233363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3748" userDrawn="1">
          <p15:clr>
            <a:srgbClr val="F26B43"/>
          </p15:clr>
        </p15:guide>
        <p15:guide id="5" pos="325" userDrawn="1">
          <p15:clr>
            <a:srgbClr val="F26B43"/>
          </p15:clr>
        </p15:guide>
        <p15:guide id="6" pos="7355" userDrawn="1">
          <p15:clr>
            <a:srgbClr val="F26B43"/>
          </p15:clr>
        </p15:guide>
        <p15:guide id="7" orient="horz" pos="1071" userDrawn="1">
          <p15:clr>
            <a:srgbClr val="F26B43"/>
          </p15:clr>
        </p15:guide>
        <p15:guide id="9" pos="3999" userDrawn="1">
          <p15:clr>
            <a:srgbClr val="F26B43"/>
          </p15:clr>
        </p15:guide>
        <p15:guide id="10" pos="3681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7E4D68-3502-080F-AE8C-3BC6E03DA3F8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7B6968-2D00-244F-4ECF-3408C460078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INCIDENT MANAGEMENT TEAM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3484348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51A8B8A-6BF9-F96C-309E-E774CDC2B121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415751-4B0D-56C0-4FFE-F986AE9B9491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FINANCE SECTION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984245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A39ADBD-665F-A8C8-12D9-9A56C3655459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BD1B62E-5F6E-25C7-02F2-7D13F1290E0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LOGISTICS SECTION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332712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794B4D-1844-5D29-DDE8-154914A6B9A9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CA47D8-69A7-CD00-EBD4-45327AAB584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PLANNING SECTION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2227438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794B4D-1844-5D29-DDE8-154914A6B9A9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CA47D8-69A7-CD00-EBD4-45327AAB584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SITUATION UNIT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3354646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794B4D-1844-5D29-DDE8-154914A6B9A9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CA47D8-69A7-CD00-EBD4-45327AAB584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RESOURCE UNIT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771781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794B4D-1844-5D29-DDE8-154914A6B9A9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CA47D8-69A7-CD00-EBD4-45327AAB584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DOCUMENTATION UNIT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2325575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794B4D-1844-5D29-DDE8-154914A6B9A9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CA47D8-69A7-CD00-EBD4-45327AAB584D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ENVIRONMENTAL UNIT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1508914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C070A3-68F9-13B3-2C98-B5ADEDF3D8BB}"/>
              </a:ext>
            </a:extLst>
          </p:cNvPr>
          <p:cNvSpPr/>
          <p:nvPr/>
        </p:nvSpPr>
        <p:spPr>
          <a:xfrm>
            <a:off x="-59267" y="0"/>
            <a:ext cx="12352867" cy="694266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BB1D5F-F571-A5EA-4F57-4D64C8B66A06}"/>
              </a:ext>
            </a:extLst>
          </p:cNvPr>
          <p:cNvSpPr txBox="1"/>
          <p:nvPr/>
        </p:nvSpPr>
        <p:spPr>
          <a:xfrm>
            <a:off x="1405467" y="2099733"/>
            <a:ext cx="9541933" cy="36068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buClr>
                <a:schemeClr val="accent6"/>
              </a:buClr>
              <a:buSzPct val="90000"/>
            </a:pPr>
            <a:r>
              <a:rPr lang="nb-NO" sz="7200" b="1" dirty="0"/>
              <a:t>OPERATIONS SECTION</a:t>
            </a:r>
            <a:endParaRPr lang="en-US" sz="7200" b="1" dirty="0" err="1"/>
          </a:p>
        </p:txBody>
      </p:sp>
    </p:spTree>
    <p:extLst>
      <p:ext uri="{BB962C8B-B14F-4D97-AF65-F5344CB8AC3E}">
        <p14:creationId xmlns:p14="http://schemas.microsoft.com/office/powerpoint/2010/main" val="2622206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3"/>
  <p:tag name="EE4P_STYLE_ID" val="bfb0023b-4dfe-49ad-860b-0e40250b71e4"/>
</p:tagLst>
</file>

<file path=ppt/theme/theme1.xml><?xml version="1.0" encoding="utf-8"?>
<a:theme xmlns:a="http://schemas.openxmlformats.org/drawingml/2006/main" name="Office-tema">
  <a:themeElements>
    <a:clrScheme name="Aker-BP_colors">
      <a:dk1>
        <a:srgbClr val="000000"/>
      </a:dk1>
      <a:lt1>
        <a:srgbClr val="FFFFFF"/>
      </a:lt1>
      <a:dk2>
        <a:srgbClr val="2F2F2F"/>
      </a:dk2>
      <a:lt2>
        <a:srgbClr val="F1F1F1"/>
      </a:lt2>
      <a:accent1>
        <a:srgbClr val="CE0F69"/>
      </a:accent1>
      <a:accent2>
        <a:srgbClr val="00B373"/>
      </a:accent2>
      <a:accent3>
        <a:srgbClr val="F68D2E"/>
      </a:accent3>
      <a:accent4>
        <a:srgbClr val="4993B4"/>
      </a:accent4>
      <a:accent5>
        <a:srgbClr val="D14F4E"/>
      </a:accent5>
      <a:accent6>
        <a:srgbClr val="AC145A"/>
      </a:accent6>
      <a:hlink>
        <a:srgbClr val="CE0F69"/>
      </a:hlink>
      <a:folHlink>
        <a:srgbClr val="CE0F69"/>
      </a:folHlink>
    </a:clrScheme>
    <a:fontScheme name="Aker BP">
      <a:majorFont>
        <a:latin typeface="Lato Bold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666666"/>
        </a:solidFill>
        <a:ln>
          <a:noFill/>
        </a:ln>
      </a:spPr>
      <a:bodyPr bIns="72000"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 marL="285750" indent="-285750" algn="l">
          <a:buClr>
            <a:schemeClr val="accent6"/>
          </a:buClr>
          <a:buSzPct val="90000"/>
          <a:buFont typeface="Wingdings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kerBP-ppt-mal_v14" id="{6A3D5FD9-5B7D-2045-BB34-95BBBDBC65B8}" vid="{FE8EC3E1-39A8-C04B-BF10-52DEBB9A32B9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kerBP-ppt-mal_v14</Template>
  <TotalTime>4</TotalTime>
  <Words>28</Words>
  <Application>Microsoft Office PowerPoint</Application>
  <PresentationFormat>Widescreen</PresentationFormat>
  <Paragraphs>18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ato</vt:lpstr>
      <vt:lpstr>Lato Bold</vt:lpstr>
      <vt:lpstr>Wingdings</vt:lpstr>
      <vt:lpstr>Office-te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Hege Hoem</cp:lastModifiedBy>
  <cp:revision>3</cp:revision>
  <cp:lastPrinted>1999-12-31T23:00:00Z</cp:lastPrinted>
  <dcterms:created xsi:type="dcterms:W3CDTF">2024-11-05T14:20:34Z</dcterms:created>
  <dcterms:modified xsi:type="dcterms:W3CDTF">2024-11-05T14:25:30Z</dcterms:modified>
</cp:coreProperties>
</file>